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267" r:id="rId5"/>
    <p:sldId id="268" r:id="rId6"/>
    <p:sldId id="256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14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6F3DD-65F6-4AD1-B232-1E06156E00D5}" type="datetimeFigureOut">
              <a:rPr lang="en-US" smtClean="0"/>
              <a:t>4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13E61B-A088-46AC-BAAC-041BE8237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23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70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7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298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95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696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74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41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8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864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034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19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2.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1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SCMT 2.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pproved by: F Mariot  Approval date: 12/13/17 Revision:  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746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Supplier SCMP 3.3 (b) Upload</a:t>
            </a:r>
            <a:br>
              <a:rPr lang="en-US" sz="3200" dirty="0"/>
            </a:br>
            <a:r>
              <a:rPr lang="en-US" sz="2400" dirty="0"/>
              <a:t>Scope: Instructions for accessing the supplier self assessment worksheet and upload to the TGI portal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pproved by: F Mariot  Approval date: 04/06/18 Revision:  Origin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1</a:t>
            </a:fld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228600" y="6356351"/>
            <a:ext cx="2895600" cy="365125"/>
          </a:xfrm>
        </p:spPr>
        <p:txBody>
          <a:bodyPr/>
          <a:lstStyle/>
          <a:p>
            <a:r>
              <a:rPr lang="en-US" dirty="0"/>
              <a:t>Supplier SCMP 3.3 Self Assessment Upload</a:t>
            </a:r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833284" y="301823"/>
            <a:ext cx="3666581" cy="523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Step 1.  Once logged in select “Supplier Profile” </a:t>
            </a:r>
          </a:p>
          <a:p>
            <a:r>
              <a:rPr lang="en-US" sz="1400" dirty="0"/>
              <a:t>from VIEW PROFILE sub-menu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pproved by: F Mariot  Approval date: 04/06/18 Revision:  Origi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2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52399" y="6356351"/>
            <a:ext cx="2962275" cy="365125"/>
          </a:xfrm>
        </p:spPr>
        <p:txBody>
          <a:bodyPr/>
          <a:lstStyle/>
          <a:p>
            <a:r>
              <a:rPr lang="en-US" dirty="0"/>
              <a:t>Supplier SCMP 3.3 Self Assessment Upload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4800" y="2667000"/>
            <a:ext cx="2743200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2.  Once the profile appears click on hyperlink to download the Assessment workboo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B0F9F2-C9E9-48B5-85F2-2DC3C0265D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b="58874"/>
          <a:stretch/>
        </p:blipFill>
        <p:spPr>
          <a:xfrm>
            <a:off x="457200" y="1005454"/>
            <a:ext cx="7170130" cy="1661546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07A1E91-8456-4388-8529-96D8D76FF2CF}"/>
              </a:ext>
            </a:extLst>
          </p:cNvPr>
          <p:cNvCxnSpPr>
            <a:stCxn id="2" idx="2"/>
          </p:cNvCxnSpPr>
          <p:nvPr/>
        </p:nvCxnSpPr>
        <p:spPr>
          <a:xfrm flipH="1">
            <a:off x="6553200" y="825043"/>
            <a:ext cx="113375" cy="10799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9A28AD2-10DC-421C-BE16-6917600CCB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800" y="3491313"/>
            <a:ext cx="7459904" cy="1487507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1656FA7-31EF-4EF6-BF34-379C2438AFC2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1676400" y="3405664"/>
            <a:ext cx="457200" cy="9228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E56730BC-DA85-4DB1-92CC-7C3E1D2E33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9325" y="4914900"/>
            <a:ext cx="2124075" cy="17145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D580FDB-69D0-42BF-9457-A0738A2C4071}"/>
              </a:ext>
            </a:extLst>
          </p:cNvPr>
          <p:cNvSpPr txBox="1"/>
          <p:nvPr/>
        </p:nvSpPr>
        <p:spPr>
          <a:xfrm>
            <a:off x="2438400" y="5281136"/>
            <a:ext cx="2743200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3.  Click on “Save as”, rename file, reopen from saved location and complete the assessment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790FF1C-8FBB-4E55-89E5-B59D10A3FA7D}"/>
              </a:ext>
            </a:extLst>
          </p:cNvPr>
          <p:cNvCxnSpPr>
            <a:stCxn id="20" idx="3"/>
          </p:cNvCxnSpPr>
          <p:nvPr/>
        </p:nvCxnSpPr>
        <p:spPr>
          <a:xfrm>
            <a:off x="5181600" y="5650468"/>
            <a:ext cx="990600" cy="5979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773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15687" y="457200"/>
            <a:ext cx="8305800" cy="523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4.  When the assessment has been completed, save results, access profile in the portal, upload file using the “Browse” link.  Then click on “Save” to completed the upload process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pproved by: F Mariot  Approval date: 04/06/18 Revision:  Origi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3</a:t>
            </a:fld>
            <a:endParaRPr lang="en-US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>
          <a:xfrm>
            <a:off x="152400" y="6356351"/>
            <a:ext cx="2895600" cy="365125"/>
          </a:xfrm>
        </p:spPr>
        <p:txBody>
          <a:bodyPr/>
          <a:lstStyle/>
          <a:p>
            <a:r>
              <a:rPr lang="en-US" dirty="0"/>
              <a:t>Supplier SCMP 3.3 Self Assessment Uploa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9E1A03-DE1C-44AE-8D90-748C9FA68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973" y="1524000"/>
            <a:ext cx="7456054" cy="14875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DDE1C65-2A0E-4DF7-9D82-2BC536019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8500" y="4781550"/>
            <a:ext cx="5143500" cy="10858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B9281EA-0493-4403-98D0-CCF830C046FA}"/>
              </a:ext>
            </a:extLst>
          </p:cNvPr>
          <p:cNvSpPr txBox="1"/>
          <p:nvPr/>
        </p:nvSpPr>
        <p:spPr>
          <a:xfrm>
            <a:off x="457200" y="3352800"/>
            <a:ext cx="3733800" cy="1169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tep 5.  Once uploaded the field will reflect “yes” and the file can be accessed by clicking on the created hyperlink.  If revisions are required or you wish to upload a new assessment, repeat steps  2-4.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14A88E9-2B7A-444B-8155-82AB2F8AC680}"/>
              </a:ext>
            </a:extLst>
          </p:cNvPr>
          <p:cNvCxnSpPr>
            <a:stCxn id="11" idx="2"/>
          </p:cNvCxnSpPr>
          <p:nvPr/>
        </p:nvCxnSpPr>
        <p:spPr>
          <a:xfrm>
            <a:off x="2324100" y="4522351"/>
            <a:ext cx="1257300" cy="5830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8153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10189AE8F8BA40A42DB299DC54A450" ma:contentTypeVersion="12" ma:contentTypeDescription="Create a new document." ma:contentTypeScope="" ma:versionID="b6b5cb1ec20aecba40610593f80a0174">
  <xsd:schema xmlns:xsd="http://www.w3.org/2001/XMLSchema" xmlns:xs="http://www.w3.org/2001/XMLSchema" xmlns:p="http://schemas.microsoft.com/office/2006/metadata/properties" xmlns:ns2="97533b70-e757-4cf6-af5c-839a20f491f3" targetNamespace="http://schemas.microsoft.com/office/2006/metadata/properties" ma:root="true" ma:fieldsID="6a13a7c44b6e52365a9242c0d2dbbc45" ns2:_="">
    <xsd:import namespace="97533b70-e757-4cf6-af5c-839a20f491f3"/>
    <xsd:element name="properties">
      <xsd:complexType>
        <xsd:sequence>
          <xsd:element name="documentManagement">
            <xsd:complexType>
              <xsd:all>
                <xsd:element ref="ns2:Folder"/>
                <xsd:element ref="ns2:Revision_x0020_Level"/>
                <xsd:element ref="ns2:Effective_x0020_Date"/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533b70-e757-4cf6-af5c-839a20f491f3" elementFormDefault="qualified">
    <xsd:import namespace="http://schemas.microsoft.com/office/2006/documentManagement/types"/>
    <xsd:import namespace="http://schemas.microsoft.com/office/infopath/2007/PartnerControls"/>
    <xsd:element name="Folder" ma:index="4" ma:displayName="Folder" ma:default="Section 1.0" ma:format="Dropdown" ma:internalName="Folder" ma:readOnly="false">
      <xsd:simpleType>
        <xsd:restriction base="dms:Choice">
          <xsd:enumeration value="Section 1.0"/>
          <xsd:enumeration value="Section 2.0"/>
          <xsd:enumeration value="Section 3.0"/>
          <xsd:enumeration value="Section 4.0"/>
          <xsd:enumeration value="Section 5.0"/>
          <xsd:enumeration value="Section 6.0"/>
          <xsd:enumeration value="Section 7.0"/>
          <xsd:enumeration value="Section 8.0"/>
        </xsd:restriction>
      </xsd:simpleType>
    </xsd:element>
    <xsd:element name="Revision_x0020_Level" ma:index="5" ma:displayName="Revision Level" ma:internalName="Revision_x0020_Level" ma:readOnly="false">
      <xsd:simpleType>
        <xsd:restriction base="dms:Text">
          <xsd:maxLength value="255"/>
        </xsd:restriction>
      </xsd:simpleType>
    </xsd:element>
    <xsd:element name="Effective_x0020_Date" ma:index="6" ma:displayName="Effective Date" ma:format="DateOnly" ma:internalName="Effective_x0020_Date" ma:readOnly="false">
      <xsd:simpleType>
        <xsd:restriction base="dms:DateTime"/>
      </xsd:simpleType>
    </xsd:element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sion_x0020_Level xmlns="97533b70-e757-4cf6-af5c-839a20f491f3">Original</Revision_x0020_Level>
    <Effective_x0020_Date xmlns="97533b70-e757-4cf6-af5c-839a20f491f3">2018-04-06T05:00:00+00:00</Effective_x0020_Date>
    <Folder xmlns="97533b70-e757-4cf6-af5c-839a20f491f3"/>
  </documentManagement>
</p:properties>
</file>

<file path=customXml/itemProps1.xml><?xml version="1.0" encoding="utf-8"?>
<ds:datastoreItem xmlns:ds="http://schemas.openxmlformats.org/officeDocument/2006/customXml" ds:itemID="{32E24A2B-7BE2-4016-A270-0F96160FA1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4F173A-8755-4A1C-948F-05146B580B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533b70-e757-4cf6-af5c-839a20f491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BBF8D0C-B778-44EF-A824-91F2D8F7A7FC}">
  <ds:schemaRefs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www.w3.org/XML/1998/namespace"/>
    <ds:schemaRef ds:uri="97533b70-e757-4cf6-af5c-839a20f491f3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5</TotalTime>
  <Words>198</Words>
  <Application>Microsoft Office PowerPoint</Application>
  <PresentationFormat>On-screen Show (4:3)</PresentationFormat>
  <Paragraphs>18</Paragraphs>
  <Slides>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Arial</vt:lpstr>
      <vt:lpstr>Calibri</vt:lpstr>
      <vt:lpstr>Office Theme</vt:lpstr>
      <vt:lpstr>Supplier SCMP 3.3 (b) Upload Scope: Instructions for accessing the supplier self assessment worksheet and upload to the TGI portal</vt:lpstr>
      <vt:lpstr>PowerPoint Presentation</vt:lpstr>
      <vt:lpstr>PowerPoint Presentation</vt:lpstr>
    </vt:vector>
  </TitlesOfParts>
  <Company>Triumph Aerostructures - Vought Aircraft Divi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ot, Frank</dc:creator>
  <cp:lastModifiedBy>Mariot, Frank</cp:lastModifiedBy>
  <cp:revision>46</cp:revision>
  <dcterms:created xsi:type="dcterms:W3CDTF">2013-02-27T15:23:51Z</dcterms:created>
  <dcterms:modified xsi:type="dcterms:W3CDTF">2018-04-06T19:0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10189AE8F8BA40A42DB299DC54A450</vt:lpwstr>
  </property>
  <property fmtid="{D5CDD505-2E9C-101B-9397-08002B2CF9AE}" pid="3" name="Order">
    <vt:r8>200</vt:r8>
  </property>
</Properties>
</file>